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15"/>
  </p:notesMasterIdLst>
  <p:sldIdLst>
    <p:sldId id="270" r:id="rId3"/>
    <p:sldId id="256" r:id="rId4"/>
    <p:sldId id="259" r:id="rId5"/>
    <p:sldId id="260" r:id="rId6"/>
    <p:sldId id="258" r:id="rId7"/>
    <p:sldId id="261" r:id="rId8"/>
    <p:sldId id="263" r:id="rId9"/>
    <p:sldId id="264" r:id="rId10"/>
    <p:sldId id="267" r:id="rId11"/>
    <p:sldId id="269" r:id="rId12"/>
    <p:sldId id="266" r:id="rId13"/>
    <p:sldId id="268" r:id="rId14"/>
  </p:sldIdLst>
  <p:sldSz cx="9144000" cy="6858000" type="screen4x3"/>
  <p:notesSz cx="6858000" cy="9144000"/>
  <p:custDataLst>
    <p:tags r:id="rId16"/>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B6D6"/>
    <a:srgbClr val="4E9A35"/>
    <a:srgbClr val="83FF61"/>
    <a:srgbClr val="B6F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7" d="100"/>
          <a:sy n="77" d="100"/>
        </p:scale>
        <p:origin x="387" y="39"/>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2</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6</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7</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9</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1</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1/07/20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smtClean="0"/>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idx="1"/>
          </p:nvPr>
        </p:nvSpPr>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07/20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07/20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07/20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smtClean="0"/>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smtClean="0"/>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1/07/20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1/07/20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1/07/20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1/07/20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º›</a:t>
            </a:fld>
            <a:endParaRPr lang="es-ES"/>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3" name="Rectángulo 2"/>
          <p:cNvSpPr/>
          <p:nvPr userDrawn="1"/>
        </p:nvSpPr>
        <p:spPr>
          <a:xfrm>
            <a:off x="0" y="0"/>
            <a:ext cx="9144000" cy="6858000"/>
          </a:xfrm>
          <a:prstGeom prst="rect">
            <a:avLst/>
          </a:prstGeom>
          <a:blipFill dpi="0" rotWithShape="1">
            <a:blip r:embed="rId18">
              <a:alphaModFix amt="7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iming>
    <p:tnLst>
      <p:par>
        <p:cTn id="1" dur="indefinite" restart="never" nodeType="tmRoot"/>
      </p:par>
    </p:tnLst>
  </p:timing>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07/20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º›</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3.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54.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hyperlink" Target="https://github.com/Big-Data-Equipo-7/Proyecto" TargetMode="External"/><Relationship Id="rId10" Type="http://schemas.openxmlformats.org/officeDocument/2006/relationships/image" Target="../media/image60.png"/><Relationship Id="rId4" Type="http://schemas.openxmlformats.org/officeDocument/2006/relationships/image" Target="../media/image55.png"/><Relationship Id="rId9" Type="http://schemas.openxmlformats.org/officeDocument/2006/relationships/image" Target="../media/image59.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13.xml"/><Relationship Id="rId9"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slideLayout" Target="../slideLayouts/slideLayout7.xml"/><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33.png"/><Relationship Id="rId5" Type="http://schemas.openxmlformats.org/officeDocument/2006/relationships/oleObject" Target="../embeddings/oleObject6.bin"/><Relationship Id="rId10" Type="http://schemas.openxmlformats.org/officeDocument/2006/relationships/image" Target="../media/image32.png"/><Relationship Id="rId4" Type="http://schemas.openxmlformats.org/officeDocument/2006/relationships/notesSlide" Target="../notesSlides/notesSlide4.xml"/><Relationship Id="rId9" Type="http://schemas.openxmlformats.org/officeDocument/2006/relationships/image" Target="../media/image31.pn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7.xml"/><Relationship Id="rId7" Type="http://schemas.openxmlformats.org/officeDocument/2006/relationships/image" Target="../media/image37.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40.png"/><Relationship Id="rId4" Type="http://schemas.openxmlformats.org/officeDocument/2006/relationships/notesSlide" Target="../notesSlides/notesSlide5.xml"/><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7.xml"/><Relationship Id="rId7" Type="http://schemas.openxmlformats.org/officeDocument/2006/relationships/image" Target="../media/image41.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45.png"/><Relationship Id="rId5" Type="http://schemas.openxmlformats.org/officeDocument/2006/relationships/oleObject" Target="../embeddings/oleObject8.bin"/><Relationship Id="rId10" Type="http://schemas.openxmlformats.org/officeDocument/2006/relationships/image" Target="../media/image44.png"/><Relationship Id="rId4" Type="http://schemas.openxmlformats.org/officeDocument/2006/relationships/notesSlide" Target="../notesSlides/notesSlide6.xml"/><Relationship Id="rId9"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49.png"/><Relationship Id="rId2" Type="http://schemas.openxmlformats.org/officeDocument/2006/relationships/tags" Target="../tags/tag14.xml"/><Relationship Id="rId16" Type="http://schemas.openxmlformats.org/officeDocument/2006/relationships/image" Target="../media/image53.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48.png"/><Relationship Id="rId5" Type="http://schemas.openxmlformats.org/officeDocument/2006/relationships/notesSlide" Target="../notesSlides/notesSlide7.xml"/><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slideLayout" Target="../slideLayouts/slideLayout2.xml"/><Relationship Id="rId9" Type="http://schemas.openxmlformats.org/officeDocument/2006/relationships/image" Target="../media/image4.pn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_tradnl" sz="6000" smtClean="0">
                <a:ln>
                  <a:solidFill>
                    <a:srgbClr val="76B6D6"/>
                  </a:solidFill>
                </a:ln>
                <a:solidFill>
                  <a:srgbClr val="76B6D6"/>
                </a:solidFill>
                <a:latin typeface="Arial Narrow" panose="020B0606020202030204" pitchFamily="34" charset="0"/>
              </a:rPr>
              <a:t>Calidad del aire en la Comunidad de Madrid </a:t>
            </a:r>
            <a:endParaRPr lang="es-ES" sz="6000" dirty="0">
              <a:ln>
                <a:solidFill>
                  <a:srgbClr val="76B6D6"/>
                </a:solidFill>
              </a:ln>
              <a:solidFill>
                <a:srgbClr val="76B6D6"/>
              </a:solidFill>
              <a:latin typeface="Arial Narrow" panose="020B0606020202030204" pitchFamily="34" charset="0"/>
            </a:endParaRPr>
          </a:p>
        </p:txBody>
      </p:sp>
      <p:sp>
        <p:nvSpPr>
          <p:cNvPr id="13" name="2 Subtítulo"/>
          <p:cNvSpPr txBox="1">
            <a:spLocks/>
          </p:cNvSpPr>
          <p:nvPr/>
        </p:nvSpPr>
        <p:spPr>
          <a:xfrm>
            <a:off x="2186871" y="2929220"/>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600" b="1" smtClean="0">
                <a:latin typeface="+mj-lt"/>
              </a:rPr>
              <a:t>Grupo 7</a:t>
            </a:r>
            <a:endParaRPr lang="es-ES" sz="1600" b="1" smtClean="0">
              <a:latin typeface="+mj-lt"/>
            </a:endParaRPr>
          </a:p>
          <a:p>
            <a:r>
              <a:rPr lang="es-ES_tradnl" sz="1600" smtClean="0">
                <a:latin typeface="+mj-lt"/>
              </a:rPr>
              <a:t>Alfonso Gallardo</a:t>
            </a:r>
            <a:endParaRPr lang="es-ES" sz="1600" smtClean="0">
              <a:latin typeface="+mj-lt"/>
            </a:endParaRPr>
          </a:p>
          <a:p>
            <a:r>
              <a:rPr lang="es-ES_tradnl" sz="1600" smtClean="0">
                <a:latin typeface="+mj-lt"/>
              </a:rPr>
              <a:t>Raúl Hervás</a:t>
            </a:r>
            <a:endParaRPr lang="es-ES" sz="1600" smtClean="0">
              <a:latin typeface="+mj-lt"/>
            </a:endParaRPr>
          </a:p>
          <a:p>
            <a:r>
              <a:rPr lang="es-ES_tradnl" sz="1600" smtClean="0">
                <a:latin typeface="+mj-lt"/>
              </a:rPr>
              <a:t>Carmen Reina</a:t>
            </a:r>
            <a:endParaRPr lang="es-ES" sz="1600" smtClean="0">
              <a:latin typeface="+mj-lt"/>
            </a:endParaRPr>
          </a:p>
          <a:p>
            <a:r>
              <a:rPr lang="es-ES_tradnl" sz="1600" smtClean="0">
                <a:latin typeface="+mj-lt"/>
              </a:rPr>
              <a:t>Walter Ronceros</a:t>
            </a:r>
            <a:endParaRPr lang="es-ES" sz="1600" smtClean="0">
              <a:latin typeface="+mj-lt"/>
            </a:endParaRPr>
          </a:p>
          <a:p>
            <a:r>
              <a:rPr lang="es-ES_tradnl" sz="1600" smtClean="0">
                <a:latin typeface="+mj-lt"/>
              </a:rPr>
              <a:t>Susana Vara</a:t>
            </a:r>
            <a:endParaRPr lang="es-ES" sz="1600" dirty="0">
              <a:latin typeface="+mj-lt"/>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158344" y="2276874"/>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Tecnologías:</a:t>
            </a:r>
            <a:endParaRPr lang="es-ES" dirty="0">
              <a:solidFill>
                <a:srgbClr val="76B6D6"/>
              </a:solidFill>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smtClean="0">
                <a:solidFill>
                  <a:schemeClr val="accent2">
                    <a:lumMod val="75000"/>
                  </a:schemeClr>
                </a:solidFill>
              </a:rPr>
              <a:t>Nos organizamos</a:t>
            </a:r>
            <a:endParaRPr lang="es-ES" sz="1200" i="1" dirty="0">
              <a:solidFill>
                <a:schemeClr val="accent2">
                  <a:lumMod val="75000"/>
                </a:schemeClr>
              </a:solidFill>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smtClean="0">
                <a:solidFill>
                  <a:schemeClr val="tx1">
                    <a:lumMod val="50000"/>
                    <a:lumOff val="50000"/>
                  </a:schemeClr>
                </a:solidFill>
              </a:rPr>
              <a:t>Phyton</a:t>
            </a:r>
            <a:r>
              <a:rPr lang="es-ES_tradnl" sz="1200" b="1" dirty="0" smtClean="0">
                <a:solidFill>
                  <a:schemeClr val="tx1">
                    <a:lumMod val="50000"/>
                    <a:lumOff val="50000"/>
                  </a:schemeClr>
                </a:solidFill>
              </a:rPr>
              <a:t> 3.8.2 </a:t>
            </a:r>
            <a:r>
              <a:rPr lang="es-ES_tradnl" sz="1200" dirty="0" smtClean="0">
                <a:solidFill>
                  <a:schemeClr val="tx1">
                    <a:lumMod val="50000"/>
                    <a:lumOff val="50000"/>
                  </a:schemeClr>
                </a:solidFill>
              </a:rPr>
              <a:t>  Pre-procesamiento de datos origen</a:t>
            </a:r>
            <a:endParaRPr lang="es-ES" sz="1200" b="1" dirty="0">
              <a:solidFill>
                <a:schemeClr val="tx1">
                  <a:lumMod val="50000"/>
                  <a:lumOff val="50000"/>
                </a:schemeClr>
              </a:solidFill>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smtClean="0">
                <a:solidFill>
                  <a:schemeClr val="tx1">
                    <a:lumMod val="50000"/>
                    <a:lumOff val="50000"/>
                  </a:schemeClr>
                </a:solidFill>
              </a:rPr>
              <a:t>Visualización</a:t>
            </a:r>
            <a:endParaRPr lang="es-ES" b="1" dirty="0">
              <a:solidFill>
                <a:schemeClr val="tx1">
                  <a:lumMod val="50000"/>
                  <a:lumOff val="50000"/>
                </a:schemeClr>
              </a:solidFill>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smtClean="0">
                <a:solidFill>
                  <a:schemeClr val="tx1">
                    <a:lumMod val="50000"/>
                    <a:lumOff val="50000"/>
                  </a:schemeClr>
                </a:solidFill>
              </a:rPr>
              <a:t>Jupyter</a:t>
            </a:r>
            <a:r>
              <a:rPr lang="es-ES_tradnl" sz="1200" b="1" dirty="0" smtClean="0">
                <a:solidFill>
                  <a:schemeClr val="tx1">
                    <a:lumMod val="50000"/>
                    <a:lumOff val="50000"/>
                  </a:schemeClr>
                </a:solidFill>
              </a:rPr>
              <a:t> notebook 6.0.3 </a:t>
            </a:r>
            <a:r>
              <a:rPr lang="es-ES_tradnl" sz="1200" dirty="0" smtClean="0">
                <a:solidFill>
                  <a:schemeClr val="tx1">
                    <a:lumMod val="50000"/>
                    <a:lumOff val="50000"/>
                  </a:schemeClr>
                </a:solidFill>
              </a:rPr>
              <a:t>y</a:t>
            </a:r>
            <a:r>
              <a:rPr lang="es-ES_tradnl" sz="1200" b="1" dirty="0" smtClean="0">
                <a:solidFill>
                  <a:schemeClr val="tx1">
                    <a:lumMod val="50000"/>
                    <a:lumOff val="50000"/>
                  </a:schemeClr>
                </a:solidFill>
              </a:rPr>
              <a:t> </a:t>
            </a:r>
            <a:r>
              <a:rPr lang="es-ES_tradnl" sz="1200" b="1" dirty="0" err="1" smtClean="0">
                <a:solidFill>
                  <a:schemeClr val="tx1">
                    <a:lumMod val="50000"/>
                    <a:lumOff val="50000"/>
                  </a:schemeClr>
                </a:solidFill>
              </a:rPr>
              <a:t>colab</a:t>
            </a:r>
            <a:r>
              <a:rPr lang="es-ES_tradnl" sz="1200" b="1" dirty="0" smtClean="0">
                <a:solidFill>
                  <a:schemeClr val="tx1">
                    <a:lumMod val="50000"/>
                    <a:lumOff val="50000"/>
                  </a:schemeClr>
                </a:solidFill>
              </a:rPr>
              <a:t> de google </a:t>
            </a:r>
            <a:r>
              <a:rPr lang="es-ES_tradnl" sz="1200" dirty="0" smtClean="0">
                <a:solidFill>
                  <a:schemeClr val="tx1">
                    <a:lumMod val="50000"/>
                    <a:lumOff val="50000"/>
                  </a:schemeClr>
                </a:solidFill>
              </a:rPr>
              <a:t>realizamos el estudio y modelado de los datos</a:t>
            </a:r>
            <a:endParaRPr lang="es-ES" sz="1200" b="1" dirty="0">
              <a:solidFill>
                <a:schemeClr val="tx1">
                  <a:lumMod val="50000"/>
                  <a:lumOff val="50000"/>
                </a:schemeClr>
              </a:solidFill>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26" name="Conector recto 25"/>
          <p:cNvCxnSpPr/>
          <p:nvPr/>
        </p:nvCxnSpPr>
        <p:spPr>
          <a:xfrm>
            <a:off x="1223728" y="584622"/>
            <a:ext cx="900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29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29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30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ppt_x"/>
                                          </p:val>
                                        </p:tav>
                                        <p:tav tm="100000">
                                          <p:val>
                                            <p:strVal val="#ppt_x"/>
                                          </p:val>
                                        </p:tav>
                                      </p:tavLst>
                                    </p:anim>
                                    <p:anim calcmode="lin" valueType="num">
                                      <p:cBhvr additive="base">
                                        <p:cTn id="52" dur="500" fill="hold"/>
                                        <p:tgtEl>
                                          <p:spTgt spid="1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cBhvr additive="base">
                                        <p:cTn id="55" dur="500" fill="hold"/>
                                        <p:tgtEl>
                                          <p:spTgt spid="4"/>
                                        </p:tgtEl>
                                        <p:attrNameLst>
                                          <p:attrName>ppt_x</p:attrName>
                                        </p:attrNameLst>
                                      </p:cBhvr>
                                      <p:tavLst>
                                        <p:tav tm="0">
                                          <p:val>
                                            <p:strVal val="#ppt_x"/>
                                          </p:val>
                                        </p:tav>
                                        <p:tav tm="100000">
                                          <p:val>
                                            <p:strVal val="#ppt_x"/>
                                          </p:val>
                                        </p:tav>
                                      </p:tavLst>
                                    </p:anim>
                                    <p:anim calcmode="lin" valueType="num">
                                      <p:cBhvr additive="base">
                                        <p:cTn id="56" dur="500" fill="hold"/>
                                        <p:tgtEl>
                                          <p:spTgt spid="4"/>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 calcmode="lin" valueType="num">
                                      <p:cBhvr additive="base">
                                        <p:cTn id="59" dur="500" fill="hold"/>
                                        <p:tgtEl>
                                          <p:spTgt spid="12"/>
                                        </p:tgtEl>
                                        <p:attrNameLst>
                                          <p:attrName>ppt_x</p:attrName>
                                        </p:attrNameLst>
                                      </p:cBhvr>
                                      <p:tavLst>
                                        <p:tav tm="0">
                                          <p:val>
                                            <p:strVal val="#ppt_x"/>
                                          </p:val>
                                        </p:tav>
                                        <p:tav tm="100000">
                                          <p:val>
                                            <p:strVal val="#ppt_x"/>
                                          </p:val>
                                        </p:tav>
                                      </p:tavLst>
                                    </p:anim>
                                    <p:anim calcmode="lin" valueType="num">
                                      <p:cBhvr additive="base">
                                        <p:cTn id="6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nodeType="clickEffect">
                                  <p:stCondLst>
                                    <p:cond delay="0"/>
                                  </p:stCondLst>
                                  <p:childTnLst>
                                    <p:set>
                                      <p:cBhvr>
                                        <p:cTn id="64" dur="1" fill="hold">
                                          <p:stCondLst>
                                            <p:cond delay="0"/>
                                          </p:stCondLst>
                                        </p:cTn>
                                        <p:tgtEl>
                                          <p:spTgt spid="12291"/>
                                        </p:tgtEl>
                                        <p:attrNameLst>
                                          <p:attrName>style.visibility</p:attrName>
                                        </p:attrNameLst>
                                      </p:cBhvr>
                                      <p:to>
                                        <p:strVal val="visible"/>
                                      </p:to>
                                    </p:set>
                                    <p:animEffect transition="in" filter="barn(inVertical)">
                                      <p:cBhvr>
                                        <p:cTn id="65" dur="500"/>
                                        <p:tgtEl>
                                          <p:spTgt spid="12291"/>
                                        </p:tgtEl>
                                      </p:cBhvr>
                                    </p:animEffect>
                                  </p:childTnLst>
                                </p:cTn>
                              </p:par>
                              <p:par>
                                <p:cTn id="66" presetID="16" presetClass="entr" presetSubtype="21" fill="hold" nodeType="withEffect">
                                  <p:stCondLst>
                                    <p:cond delay="0"/>
                                  </p:stCondLst>
                                  <p:childTnLst>
                                    <p:set>
                                      <p:cBhvr>
                                        <p:cTn id="67" dur="1" fill="hold">
                                          <p:stCondLst>
                                            <p:cond delay="0"/>
                                          </p:stCondLst>
                                        </p:cTn>
                                        <p:tgtEl>
                                          <p:spTgt spid="12290"/>
                                        </p:tgtEl>
                                        <p:attrNameLst>
                                          <p:attrName>style.visibility</p:attrName>
                                        </p:attrNameLst>
                                      </p:cBhvr>
                                      <p:to>
                                        <p:strVal val="visible"/>
                                      </p:to>
                                    </p:set>
                                    <p:animEffect transition="in" filter="barn(inVertical)">
                                      <p:cBhvr>
                                        <p:cTn id="68" dur="500"/>
                                        <p:tgtEl>
                                          <p:spTgt spid="12290"/>
                                        </p:tgtEl>
                                      </p:cBhvr>
                                    </p:animEffect>
                                  </p:childTnLst>
                                </p:cTn>
                              </p:par>
                              <p:par>
                                <p:cTn id="69" presetID="16" presetClass="entr" presetSubtype="21" fill="hold" grpId="0" nodeType="withEffect">
                                  <p:stCondLst>
                                    <p:cond delay="0"/>
                                  </p:stCondLst>
                                  <p:childTnLst>
                                    <p:set>
                                      <p:cBhvr>
                                        <p:cTn id="70" dur="1" fill="hold">
                                          <p:stCondLst>
                                            <p:cond delay="0"/>
                                          </p:stCondLst>
                                        </p:cTn>
                                        <p:tgtEl>
                                          <p:spTgt spid="5"/>
                                        </p:tgtEl>
                                        <p:attrNameLst>
                                          <p:attrName>style.visibility</p:attrName>
                                        </p:attrNameLst>
                                      </p:cBhvr>
                                      <p:to>
                                        <p:strVal val="visible"/>
                                      </p:to>
                                    </p:set>
                                    <p:animEffect transition="in" filter="barn(inVertical)">
                                      <p:cBhvr>
                                        <p:cTn id="7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3"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solidFill>
                  <a:srgbClr val="76B6D6"/>
                </a:solidFill>
              </a:rPr>
              <a:t>Conclusiones y estudio posterior:</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pPr>
              <a:buClr>
                <a:schemeClr val="accent2">
                  <a:lumMod val="75000"/>
                </a:schemeClr>
              </a:buClr>
            </a:pPr>
            <a:r>
              <a:rPr lang="es-ES_tradnl" sz="1200" dirty="0"/>
              <a:t>A la vista de las conclusiones obtenidas en el trabajo, proponemos un </a:t>
            </a:r>
            <a:r>
              <a:rPr lang="es-ES_tradnl" sz="1200" b="1" dirty="0"/>
              <a:t>estudio posterior sobre la composición del ICA</a:t>
            </a:r>
            <a:r>
              <a:rPr lang="es-ES_tradnl" sz="1200" dirty="0"/>
              <a:t>. </a:t>
            </a:r>
            <a:endParaRPr lang="es-ES" sz="1200" dirty="0"/>
          </a:p>
          <a:p>
            <a:pPr>
              <a:buClr>
                <a:schemeClr val="accent2">
                  <a:lumMod val="75000"/>
                </a:schemeClr>
              </a:buClr>
            </a:pPr>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t>Conclusiones: </a:t>
            </a:r>
            <a:endParaRPr lang="es-ES" sz="1200" dirty="0"/>
          </a:p>
          <a:p>
            <a:pPr>
              <a:buClr>
                <a:schemeClr val="accent2">
                  <a:lumMod val="60000"/>
                  <a:lumOff val="40000"/>
                </a:schemeClr>
              </a:buClr>
              <a:buFont typeface="Wingdings" panose="05000000000000000000" pitchFamily="2" charset="2"/>
              <a:buChar char="ü"/>
            </a:pPr>
            <a:r>
              <a:rPr lang="es-ES_tradnl" sz="1200" dirty="0"/>
              <a:t>Las </a:t>
            </a:r>
            <a:r>
              <a:rPr lang="es-ES_tradnl" sz="1200" b="1" dirty="0"/>
              <a:t>medidas de distanciamiento </a:t>
            </a:r>
            <a:r>
              <a:rPr lang="es-ES_tradnl" sz="1200" dirty="0" smtClean="0"/>
              <a:t>han </a:t>
            </a:r>
            <a:r>
              <a:rPr lang="es-ES_tradnl" sz="1200" dirty="0"/>
              <a:t>tenido un </a:t>
            </a:r>
            <a:r>
              <a:rPr lang="es-ES_tradnl" sz="1200" b="1" dirty="0"/>
              <a:t>efecto</a:t>
            </a:r>
            <a:r>
              <a:rPr lang="es-ES_tradnl" sz="1200" dirty="0"/>
              <a:t> enorme en los </a:t>
            </a:r>
            <a:r>
              <a:rPr lang="es-ES_tradnl" sz="1200" b="1" dirty="0"/>
              <a:t>niveles de contaminación </a:t>
            </a:r>
            <a:r>
              <a:rPr lang="es-ES_tradnl" sz="1200" dirty="0" smtClean="0"/>
              <a:t>atmosférica</a:t>
            </a:r>
          </a:p>
          <a:p>
            <a:pPr>
              <a:buClr>
                <a:srgbClr val="B6FFA1"/>
              </a:buClr>
              <a:buFont typeface="Wingdings" panose="05000000000000000000" pitchFamily="2" charset="2"/>
              <a:buChar char="ü"/>
            </a:pPr>
            <a:endParaRPr lang="es-ES" sz="1200" dirty="0"/>
          </a:p>
          <a:p>
            <a:pPr>
              <a:buClr>
                <a:srgbClr val="B6FFA1"/>
              </a:buClr>
              <a:buFont typeface="Wingdings" panose="05000000000000000000" pitchFamily="2" charset="2"/>
              <a:buChar char="ü"/>
            </a:pPr>
            <a:endParaRPr lang="es-ES" sz="1200" dirty="0"/>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Pese a lo que pueda parecer a priori, las </a:t>
            </a:r>
            <a:r>
              <a:rPr lang="es-ES_tradnl" sz="1200" b="1" dirty="0"/>
              <a:t>condiciones meteorológicas influyen mucho menos en la calidad del aire </a:t>
            </a:r>
            <a:r>
              <a:rPr lang="es-ES_tradnl" sz="1200" dirty="0"/>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Índice de Calidad del Aire (ICA</a:t>
            </a:r>
            <a:r>
              <a:rPr lang="es-ES_tradnl" sz="1200" dirty="0"/>
              <a:t>) </a:t>
            </a:r>
            <a:r>
              <a:rPr lang="es-ES_tradnl" sz="1200" b="1" dirty="0"/>
              <a:t>debería estar </a:t>
            </a:r>
            <a:r>
              <a:rPr lang="es-ES_tradnl" sz="1200" dirty="0"/>
              <a:t>conformado de forma </a:t>
            </a:r>
            <a:r>
              <a:rPr lang="es-ES_tradnl" sz="1200" b="1" dirty="0"/>
              <a:t>ponderada</a:t>
            </a:r>
            <a:r>
              <a:rPr lang="es-ES_tradnl" sz="1200" dirty="0"/>
              <a:t> por todos los agentes </a:t>
            </a:r>
            <a:r>
              <a:rPr lang="es-ES_tradnl" sz="1200" b="1" dirty="0"/>
              <a:t>contaminantes</a:t>
            </a:r>
            <a:r>
              <a:rPr lang="es-ES_tradnl" sz="1200" dirty="0"/>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t>
            </a:r>
            <a:r>
              <a:rPr lang="es-ES_tradnl" sz="1200" b="1" dirty="0"/>
              <a:t>periodo de confinamiento ha demostrado por tanto que el confinamiento de la sociedad ha influido positivamente en la calidad del aire,</a:t>
            </a:r>
            <a:r>
              <a:rPr lang="es-ES_tradnl" sz="1200" dirty="0"/>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t>La mejora en la calidad del aire ha ocurrido ampliamente, afectando tanto a los centros de las ciudades como a las áreas periféricas. </a:t>
            </a:r>
          </a:p>
        </p:txBody>
      </p:sp>
      <p:cxnSp>
        <p:nvCxnSpPr>
          <p:cNvPr id="14" name="Conector recto 13"/>
          <p:cNvCxnSpPr/>
          <p:nvPr/>
        </p:nvCxnSpPr>
        <p:spPr>
          <a:xfrm>
            <a:off x="3315575" y="764704"/>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2"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r>
              <a:rPr lang="es-ES_tradnl" sz="1600" i="1" dirty="0" smtClean="0">
                <a:ln>
                  <a:solidFill>
                    <a:schemeClr val="tx1">
                      <a:lumMod val="65000"/>
                      <a:lumOff val="35000"/>
                    </a:schemeClr>
                  </a:solidFill>
                </a:ln>
                <a:solidFill>
                  <a:schemeClr val="tx1">
                    <a:lumMod val="65000"/>
                    <a:lumOff val="35000"/>
                  </a:schemeClr>
                </a:solidFill>
                <a:effectLst/>
              </a:rPr>
              <a:t/>
            </a:r>
            <a:br>
              <a:rPr lang="es-ES_tradnl" sz="1600" i="1" dirty="0" smtClean="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34858" cy="830997"/>
          </a:xfrm>
          <a:prstGeom prst="rect">
            <a:avLst/>
          </a:prstGeom>
          <a:noFill/>
        </p:spPr>
        <p:txBody>
          <a:bodyPr wrap="square" rtlCol="0">
            <a:spAutoFit/>
          </a:bodyPr>
          <a:lstStyle/>
          <a:p>
            <a:r>
              <a:rPr lang="es-ES_tradnl" sz="4000" dirty="0" smtClean="0">
                <a:solidFill>
                  <a:schemeClr val="bg1"/>
                </a:solidFill>
                <a:latin typeface="Times New Roman" panose="02020603050405020304" pitchFamily="18" charset="0"/>
                <a:cs typeface="Times New Roman" panose="02020603050405020304" pitchFamily="18" charset="0"/>
              </a:rPr>
              <a:t>Febrero</a:t>
            </a:r>
            <a:r>
              <a:rPr lang="es-ES_tradnl" sz="3600" dirty="0" smtClean="0">
                <a:solidFill>
                  <a:schemeClr val="bg1"/>
                </a:solidFill>
              </a:rPr>
              <a:t> </a:t>
            </a:r>
            <a:r>
              <a:rPr lang="es-ES_tradnl" sz="4800" dirty="0">
                <a:solidFill>
                  <a:schemeClr val="bg1"/>
                </a:solidFill>
              </a:rPr>
              <a:t>2020</a:t>
            </a:r>
            <a:endParaRPr lang="es-ES" sz="4800" dirty="0">
              <a:solidFill>
                <a:schemeClr val="bg1"/>
              </a:solidFill>
            </a:endParaRPr>
          </a:p>
        </p:txBody>
      </p:sp>
    </p:spTree>
    <p:extLst>
      <p:ext uri="{BB962C8B-B14F-4D97-AF65-F5344CB8AC3E}">
        <p14:creationId xmlns:p14="http://schemas.microsoft.com/office/powerpoint/2010/main" val="10689429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rmAutofit fontScale="90000"/>
          </a:bodyPr>
          <a:lstStyle/>
          <a:p>
            <a:r>
              <a:rPr lang="es-ES_tradnl" dirty="0">
                <a:solidFill>
                  <a:srgbClr val="76B6D6"/>
                </a:solidFill>
              </a:rPr>
              <a:t>Objetivos y conclusión del análisis</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cxnSp>
        <p:nvCxnSpPr>
          <p:cNvPr id="25" name="Conector recto 24"/>
          <p:cNvCxnSpPr/>
          <p:nvPr/>
        </p:nvCxnSpPr>
        <p:spPr>
          <a:xfrm>
            <a:off x="3459591" y="764704"/>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rmAutofit fontScale="90000"/>
          </a:bodyPr>
          <a:lstStyle/>
          <a:p>
            <a:r>
              <a:rPr lang="es-ES_tradnl" dirty="0">
                <a:solidFill>
                  <a:srgbClr val="76B6D6"/>
                </a:solidFill>
              </a:rPr>
              <a:t>Fuentes de datos:</a:t>
            </a:r>
            <a:endParaRPr lang="es-ES"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staciones de medida: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cxnSp>
        <p:nvCxnSpPr>
          <p:cNvPr id="21" name="Conector recto 20"/>
          <p:cNvCxnSpPr/>
          <p:nvPr/>
        </p:nvCxnSpPr>
        <p:spPr>
          <a:xfrm>
            <a:off x="1943960" y="764704"/>
            <a:ext cx="226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a:ln>
            <a:noFill/>
          </a:ln>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a:t>
            </a:r>
            <a:endParaRPr lang="es-ES" dirty="0">
              <a:solidFill>
                <a:srgbClr val="76B6D6"/>
              </a:solidFill>
            </a:endParaRPr>
          </a:p>
        </p:txBody>
      </p:sp>
      <p:sp>
        <p:nvSpPr>
          <p:cNvPr id="8" name="2 Marcador de contenido"/>
          <p:cNvSpPr txBox="1">
            <a:spLocks/>
          </p:cNvSpPr>
          <p:nvPr/>
        </p:nvSpPr>
        <p:spPr>
          <a:xfrm>
            <a:off x="143453" y="764704"/>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2362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64502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799082"/>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196752"/>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3121412714"/>
              </p:ext>
            </p:extLst>
          </p:nvPr>
        </p:nvGraphicFramePr>
        <p:xfrm>
          <a:off x="6156176" y="3933057"/>
          <a:ext cx="2736304" cy="1292366"/>
        </p:xfrm>
        <a:graphic>
          <a:graphicData uri="http://schemas.openxmlformats.org/drawingml/2006/table">
            <a:tbl>
              <a:tblPr firstRow="1" firstCol="1" bandRow="1">
                <a:tableStyleId>{5C22544A-7EE6-4342-B048-85BDC9FD1C3A}</a:tableStyleId>
              </a:tblPr>
              <a:tblGrid>
                <a:gridCol w="1368152">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20" name="2 Marcador de contenido"/>
          <p:cNvSpPr txBox="1">
            <a:spLocks/>
          </p:cNvSpPr>
          <p:nvPr/>
        </p:nvSpPr>
        <p:spPr>
          <a:xfrm>
            <a:off x="6480212" y="3236218"/>
            <a:ext cx="2268252"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oles dentro del equipo:</a:t>
            </a:r>
          </a:p>
        </p:txBody>
      </p:sp>
      <p:cxnSp>
        <p:nvCxnSpPr>
          <p:cNvPr id="14" name="Conector recto 13"/>
          <p:cNvCxnSpPr/>
          <p:nvPr/>
        </p:nvCxnSpPr>
        <p:spPr>
          <a:xfrm>
            <a:off x="1835928" y="620688"/>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525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3 metodología CRISP-DM:</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cxnSp>
        <p:nvCxnSpPr>
          <p:cNvPr id="17" name="Conector recto 16"/>
          <p:cNvCxnSpPr/>
          <p:nvPr/>
        </p:nvCxnSpPr>
        <p:spPr>
          <a:xfrm>
            <a:off x="3347864"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MODELADO</a:t>
            </a:r>
            <a:endParaRPr lang="es-ES" dirty="0">
              <a:solidFill>
                <a:srgbClr val="76B6D6"/>
              </a:solidFill>
            </a:endParaRPr>
          </a:p>
        </p:txBody>
      </p:sp>
      <p:sp>
        <p:nvSpPr>
          <p:cNvPr id="8" name="2 Marcador de contenido"/>
          <p:cNvSpPr txBox="1">
            <a:spLocks/>
          </p:cNvSpPr>
          <p:nvPr/>
        </p:nvSpPr>
        <p:spPr>
          <a:xfrm>
            <a:off x="143453" y="764704"/>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cxnSp>
        <p:nvCxnSpPr>
          <p:cNvPr id="11" name="Conector recto 10"/>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solidFill>
                  <a:srgbClr val="76B6D6"/>
                </a:solidFill>
              </a:rPr>
              <a:t>Desarrollo del proyecto. Punto 4 metodología CRISP-DM. MODELADO</a:t>
            </a:r>
            <a:endParaRPr lang="es-ES" dirty="0">
              <a:solidFill>
                <a:srgbClr val="76B6D6"/>
              </a:solidFill>
            </a:endParaRPr>
          </a:p>
        </p:txBody>
      </p:sp>
      <p:sp>
        <p:nvSpPr>
          <p:cNvPr id="8" name="2 Marcador de contenido"/>
          <p:cNvSpPr txBox="1">
            <a:spLocks/>
          </p:cNvSpPr>
          <p:nvPr/>
        </p:nvSpPr>
        <p:spPr>
          <a:xfrm>
            <a:off x="140452" y="764704"/>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smtClean="0">
                <a:latin typeface="+mj-lt"/>
              </a:rPr>
              <a:t>K-NN</a:t>
            </a:r>
            <a:endParaRPr lang="es-ES_tradnl" sz="1200" dirty="0">
              <a:latin typeface="+mj-lt"/>
            </a:endParaRPr>
          </a:p>
        </p:txBody>
      </p:sp>
      <p:sp>
        <p:nvSpPr>
          <p:cNvPr id="11" name="2 Marcador de contenido"/>
          <p:cNvSpPr txBox="1">
            <a:spLocks/>
          </p:cNvSpPr>
          <p:nvPr/>
        </p:nvSpPr>
        <p:spPr>
          <a:xfrm>
            <a:off x="140452" y="235936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AdaBoost</a:t>
            </a:r>
            <a:endParaRPr lang="es-ES" sz="1200" dirty="0">
              <a:latin typeface="+mj-lt"/>
            </a:endParaRPr>
          </a:p>
          <a:p>
            <a:pPr marL="109728" indent="0">
              <a:buClr>
                <a:schemeClr val="accent2">
                  <a:lumMod val="75000"/>
                </a:schemeClr>
              </a:buClr>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5" name="Conector recto 14"/>
          <p:cNvCxnSpPr/>
          <p:nvPr/>
        </p:nvCxnSpPr>
        <p:spPr>
          <a:xfrm>
            <a:off x="3963647" y="620688"/>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8">
            <a:extLst>
              <a:ext uri="{28A0092B-C50C-407E-A947-70E740481C1C}">
                <a14:useLocalDpi xmlns:a14="http://schemas.microsoft.com/office/drawing/2010/main" val="0"/>
              </a:ext>
            </a:extLst>
          </a:blip>
          <a:srcRect/>
          <a:stretch>
            <a:fillRect/>
          </a:stretch>
        </p:blipFill>
        <p:spPr bwMode="auto">
          <a:xfrm>
            <a:off x="4505819" y="1435549"/>
            <a:ext cx="3407161" cy="1733099"/>
          </a:xfrm>
          <a:prstGeom prst="rect">
            <a:avLst/>
          </a:prstGeom>
          <a:noFill/>
          <a:ln>
            <a:noFill/>
          </a:ln>
        </p:spPr>
      </p:pic>
      <p:sp>
        <p:nvSpPr>
          <p:cNvPr id="2" name="1 Título"/>
          <p:cNvSpPr>
            <a:spLocks noGrp="1"/>
          </p:cNvSpPr>
          <p:nvPr>
            <p:ph type="title"/>
          </p:nvPr>
        </p:nvSpPr>
        <p:spPr>
          <a:xfrm>
            <a:off x="146820" y="44624"/>
            <a:ext cx="8883918" cy="504056"/>
          </a:xfrm>
        </p:spPr>
        <p:txBody>
          <a:bodyPr vert="horz" anchor="ctr">
            <a:normAutofit fontScale="90000"/>
          </a:bodyPr>
          <a:lstStyle/>
          <a:p>
            <a:r>
              <a:rPr lang="es-ES_tradnl" dirty="0">
                <a:solidFill>
                  <a:srgbClr val="76B6D6"/>
                </a:solidFill>
              </a:rPr>
              <a:t>Visualización:</a:t>
            </a:r>
            <a:endParaRPr lang="es-ES" dirty="0">
              <a:solidFill>
                <a:srgbClr val="76B6D6"/>
              </a:solidFill>
            </a:endParaRPr>
          </a:p>
        </p:txBody>
      </p:sp>
      <p:pic>
        <p:nvPicPr>
          <p:cNvPr id="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25896" y="55441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Para esta fase hemos decidido preparar un entorno de visualización apoyándonos en </a:t>
            </a:r>
            <a:r>
              <a:rPr lang="es-ES_tradnl" sz="1600" dirty="0" err="1">
                <a:latin typeface="Calibri" panose="020F0502020204030204" pitchFamily="34" charset="0"/>
                <a:cs typeface="Calibri" panose="020F0502020204030204" pitchFamily="34" charset="0"/>
              </a:rPr>
              <a:t>dockers</a:t>
            </a:r>
            <a:r>
              <a:rPr lang="es-ES_tradnl" sz="1600" dirty="0">
                <a:latin typeface="Calibri" panose="020F0502020204030204" pitchFamily="34" charset="0"/>
                <a:cs typeface="Calibri" panose="020F0502020204030204" pitchFamily="34" charset="0"/>
              </a:rPr>
              <a:t>, donde utilizando un contenedor ELK con </a:t>
            </a:r>
            <a:r>
              <a:rPr lang="es-ES_tradnl" sz="1600" dirty="0" err="1">
                <a:latin typeface="Calibri" panose="020F0502020204030204" pitchFamily="34" charset="0"/>
                <a:cs typeface="Calibri" panose="020F0502020204030204" pitchFamily="34" charset="0"/>
              </a:rPr>
              <a:t>ElasticSearch</a:t>
            </a:r>
            <a:r>
              <a:rPr lang="es-ES_tradnl" sz="1600" dirty="0">
                <a:latin typeface="Calibri" panose="020F0502020204030204" pitchFamily="34" charset="0"/>
                <a:cs typeface="Calibri" panose="020F0502020204030204" pitchFamily="34" charset="0"/>
              </a:rPr>
              <a:t>, </a:t>
            </a:r>
            <a:r>
              <a:rPr lang="es-ES_tradnl" sz="1600" dirty="0" err="1">
                <a:latin typeface="Calibri" panose="020F0502020204030204" pitchFamily="34" charset="0"/>
                <a:cs typeface="Calibri" panose="020F0502020204030204" pitchFamily="34" charset="0"/>
              </a:rPr>
              <a:t>Logstash</a:t>
            </a:r>
            <a:r>
              <a:rPr lang="es-ES_tradnl" sz="1600" dirty="0">
                <a:latin typeface="Calibri" panose="020F0502020204030204" pitchFamily="34" charset="0"/>
                <a:cs typeface="Calibri" panose="020F0502020204030204" pitchFamily="34" charset="0"/>
              </a:rPr>
              <a:t> y </a:t>
            </a:r>
            <a:r>
              <a:rPr lang="es-ES_tradnl" sz="1600" dirty="0" err="1">
                <a:latin typeface="Calibri" panose="020F0502020204030204" pitchFamily="34" charset="0"/>
                <a:cs typeface="Calibri" panose="020F0502020204030204" pitchFamily="34" charset="0"/>
              </a:rPr>
              <a:t>Kibana</a:t>
            </a:r>
            <a:r>
              <a:rPr lang="es-ES_tradnl" sz="1600" dirty="0">
                <a:latin typeface="Calibri" panose="020F0502020204030204" pitchFamily="34" charset="0"/>
                <a:cs typeface="Calibri" panose="020F0502020204030204" pitchFamily="34" charset="0"/>
              </a:rPr>
              <a:t> hemos podido cubrir con creces esta necesida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1" name="2 Marcador de contenido"/>
          <p:cNvSpPr txBox="1">
            <a:spLocks/>
          </p:cNvSpPr>
          <p:nvPr/>
        </p:nvSpPr>
        <p:spPr>
          <a:xfrm>
            <a:off x="576586" y="1570780"/>
            <a:ext cx="3312368" cy="158417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200" dirty="0">
                <a:latin typeface="+mj-lt"/>
              </a:rPr>
              <a:t>Instalación de </a:t>
            </a:r>
            <a:r>
              <a:rPr lang="es-ES_tradnl" sz="1200" dirty="0" err="1">
                <a:latin typeface="+mj-lt"/>
              </a:rPr>
              <a:t>Docker</a:t>
            </a:r>
            <a:r>
              <a:rPr lang="es-ES_tradnl" sz="1200" dirty="0">
                <a:latin typeface="+mj-lt"/>
              </a:rPr>
              <a:t> Desktop</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Descarga de contenedor </a:t>
            </a:r>
            <a:r>
              <a:rPr lang="es-ES_tradnl" sz="1200" dirty="0" err="1">
                <a:latin typeface="+mj-lt"/>
              </a:rPr>
              <a:t>sebp</a:t>
            </a:r>
            <a:r>
              <a:rPr lang="es-ES_tradnl" sz="1200" dirty="0">
                <a:latin typeface="+mj-lt"/>
              </a:rPr>
              <a:t>/</a:t>
            </a:r>
            <a:r>
              <a:rPr lang="es-ES_tradnl" sz="1200" dirty="0" err="1">
                <a:latin typeface="+mj-lt"/>
              </a:rPr>
              <a:t>elk</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Arrancar el contender indicando los puertos para </a:t>
            </a:r>
            <a:r>
              <a:rPr lang="es-ES_tradnl" sz="1200" dirty="0" err="1">
                <a:latin typeface="+mj-lt"/>
              </a:rPr>
              <a:t>Elastic</a:t>
            </a:r>
            <a:r>
              <a:rPr lang="es-ES_tradnl" sz="1200" dirty="0">
                <a:latin typeface="+mj-lt"/>
              </a:rPr>
              <a:t>, </a:t>
            </a:r>
            <a:r>
              <a:rPr lang="es-ES_tradnl" sz="1200" dirty="0" err="1">
                <a:latin typeface="+mj-lt"/>
              </a:rPr>
              <a:t>Logstash</a:t>
            </a:r>
            <a:r>
              <a:rPr lang="es-ES_tradnl" sz="1200" dirty="0">
                <a:latin typeface="+mj-lt"/>
              </a:rPr>
              <a:t> y </a:t>
            </a:r>
            <a:r>
              <a:rPr lang="es-ES_tradnl" sz="1200" dirty="0" err="1">
                <a:latin typeface="+mj-lt"/>
              </a:rPr>
              <a:t>Kibana</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Copiar </a:t>
            </a:r>
            <a:r>
              <a:rPr lang="es-ES_tradnl" sz="1200" dirty="0" err="1">
                <a:latin typeface="+mj-lt"/>
              </a:rPr>
              <a:t>dataset</a:t>
            </a:r>
            <a:r>
              <a:rPr lang="es-ES_tradnl" sz="1200" dirty="0">
                <a:latin typeface="+mj-lt"/>
              </a:rPr>
              <a:t> al contenedor para procesarlo con </a:t>
            </a:r>
            <a:r>
              <a:rPr lang="es-ES_tradnl" sz="1200" dirty="0" err="1">
                <a:latin typeface="+mj-lt"/>
              </a:rPr>
              <a:t>Logstash</a:t>
            </a:r>
            <a:endParaRPr lang="es-ES" sz="1200" dirty="0">
              <a:latin typeface="+mj-lt"/>
            </a:endParaRPr>
          </a:p>
          <a:p>
            <a:pPr lvl="0">
              <a:buClr>
                <a:schemeClr val="accent2">
                  <a:lumMod val="60000"/>
                  <a:lumOff val="40000"/>
                </a:schemeClr>
              </a:buClr>
              <a:buFont typeface="Wingdings" panose="05000000000000000000" pitchFamily="2" charset="2"/>
              <a:buChar char="ü"/>
            </a:pPr>
            <a:r>
              <a:rPr lang="es-ES_tradnl" sz="1200" dirty="0">
                <a:latin typeface="+mj-lt"/>
              </a:rPr>
              <a:t>Crear </a:t>
            </a:r>
            <a:r>
              <a:rPr lang="es-ES_tradnl" sz="1200" dirty="0" err="1">
                <a:latin typeface="+mj-lt"/>
              </a:rPr>
              <a:t>config</a:t>
            </a:r>
            <a:r>
              <a:rPr lang="es-ES_tradnl" sz="1200" dirty="0">
                <a:latin typeface="+mj-lt"/>
              </a:rPr>
              <a:t> para </a:t>
            </a:r>
            <a:r>
              <a:rPr lang="es-ES_tradnl" sz="1200" dirty="0" err="1">
                <a:latin typeface="+mj-lt"/>
              </a:rPr>
              <a:t>Logstash</a:t>
            </a:r>
            <a:r>
              <a:rPr lang="es-ES_tradnl" sz="1200" dirty="0">
                <a:latin typeface="+mj-lt"/>
              </a:rPr>
              <a:t> con nombre de </a:t>
            </a:r>
            <a:r>
              <a:rPr lang="es-ES_tradnl" sz="1200" dirty="0" err="1">
                <a:latin typeface="+mj-lt"/>
              </a:rPr>
              <a:t>index</a:t>
            </a:r>
            <a:r>
              <a:rPr lang="es-ES_tradnl" sz="1200" dirty="0">
                <a:latin typeface="+mj-lt"/>
              </a:rPr>
              <a:t> </a:t>
            </a:r>
            <a:r>
              <a:rPr lang="es-ES_tradnl" sz="1200" dirty="0" err="1">
                <a:latin typeface="+mj-lt"/>
              </a:rPr>
              <a:t>global_info</a:t>
            </a:r>
            <a:endParaRPr lang="es-ES" sz="1200" dirty="0">
              <a:latin typeface="+mj-lt"/>
            </a:endParaRPr>
          </a:p>
        </p:txBody>
      </p:sp>
      <p:sp>
        <p:nvSpPr>
          <p:cNvPr id="14" name="2 Marcador de contenido"/>
          <p:cNvSpPr txBox="1">
            <a:spLocks/>
          </p:cNvSpPr>
          <p:nvPr/>
        </p:nvSpPr>
        <p:spPr>
          <a:xfrm>
            <a:off x="145654"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200" dirty="0"/>
              <a:t>Crear índice </a:t>
            </a:r>
            <a:r>
              <a:rPr lang="es-ES_tradnl" sz="1200" b="1" dirty="0" err="1"/>
              <a:t>global_info</a:t>
            </a:r>
            <a:r>
              <a:rPr lang="es-ES_tradnl" sz="1200" dirty="0"/>
              <a:t> con el mapeo del campo localización para que el tipo de dato sea </a:t>
            </a:r>
            <a:r>
              <a:rPr lang="es-ES_tradnl" sz="1200" b="1" dirty="0" err="1"/>
              <a:t>geo_point</a:t>
            </a:r>
            <a:endParaRPr lang="es-ES" sz="1200" dirty="0"/>
          </a:p>
        </p:txBody>
      </p:sp>
      <p:pic>
        <p:nvPicPr>
          <p:cNvPr id="15" name="14 Imagen" descr="Macintosh HD:Users:walterroncerosnavajo:Desktop:Captura de pantalla 2020-07-19 a las 13.00.35.png"/>
          <p:cNvPicPr/>
          <p:nvPr/>
        </p:nvPicPr>
        <p:blipFill>
          <a:blip r:embed="rId11">
            <a:extLst>
              <a:ext uri="{28A0092B-C50C-407E-A947-70E740481C1C}">
                <a14:useLocalDpi xmlns:a14="http://schemas.microsoft.com/office/drawing/2010/main" val="0"/>
              </a:ext>
            </a:extLst>
          </a:blip>
          <a:srcRect/>
          <a:stretch>
            <a:fillRect/>
          </a:stretch>
        </p:blipFill>
        <p:spPr bwMode="auto">
          <a:xfrm>
            <a:off x="3855468" y="3429000"/>
            <a:ext cx="1656184" cy="856114"/>
          </a:xfrm>
          <a:prstGeom prst="rect">
            <a:avLst/>
          </a:prstGeom>
          <a:noFill/>
          <a:ln>
            <a:noFill/>
          </a:ln>
        </p:spPr>
      </p:pic>
      <p:pic>
        <p:nvPicPr>
          <p:cNvPr id="1229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5468" y="2204864"/>
            <a:ext cx="35649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491880" y="3799982"/>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45654" y="4285990"/>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200" dirty="0"/>
              <a:t>Ejecutamos </a:t>
            </a:r>
            <a:r>
              <a:rPr lang="es-ES_tradnl" sz="1200" dirty="0" err="1"/>
              <a:t>logstash</a:t>
            </a:r>
            <a:r>
              <a:rPr lang="es-ES_tradnl" sz="1200" dirty="0"/>
              <a:t> para realizar carga con el comando: </a:t>
            </a:r>
            <a:r>
              <a:rPr lang="es-ES_tradnl" sz="1200" i="1" dirty="0" err="1"/>
              <a:t>logstash</a:t>
            </a:r>
            <a:r>
              <a:rPr lang="es-ES_tradnl" sz="1200" i="1" dirty="0"/>
              <a:t> -f /</a:t>
            </a:r>
            <a:r>
              <a:rPr lang="es-ES_tradnl" sz="1200" i="1" dirty="0" err="1"/>
              <a:t>opt</a:t>
            </a:r>
            <a:r>
              <a:rPr lang="es-ES_tradnl" sz="1200" i="1" dirty="0"/>
              <a:t>/</a:t>
            </a:r>
            <a:r>
              <a:rPr lang="es-ES_tradnl" sz="1200" i="1" dirty="0" err="1"/>
              <a:t>logstash</a:t>
            </a:r>
            <a:r>
              <a:rPr lang="es-ES_tradnl" sz="1200" i="1" dirty="0"/>
              <a:t>/</a:t>
            </a:r>
            <a:r>
              <a:rPr lang="es-ES_tradnl" sz="1200" i="1" dirty="0" err="1"/>
              <a:t>config</a:t>
            </a:r>
            <a:r>
              <a:rPr lang="es-ES_tradnl" sz="1200" i="1" dirty="0"/>
              <a:t>/grupo7_BigData_global.config</a:t>
            </a:r>
            <a:endParaRPr lang="es-ES" sz="1200" dirty="0"/>
          </a:p>
        </p:txBody>
      </p:sp>
      <p:sp>
        <p:nvSpPr>
          <p:cNvPr id="22" name="2 Marcador de contenido"/>
          <p:cNvSpPr txBox="1">
            <a:spLocks/>
          </p:cNvSpPr>
          <p:nvPr/>
        </p:nvSpPr>
        <p:spPr>
          <a:xfrm>
            <a:off x="145654" y="5088917"/>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t>Una vez hecho esto debemos crear el </a:t>
            </a:r>
            <a:r>
              <a:rPr lang="es-ES_tradnl" sz="1200" dirty="0" err="1"/>
              <a:t>indexPattern</a:t>
            </a:r>
            <a:r>
              <a:rPr lang="es-ES_tradnl" sz="1200" dirty="0"/>
              <a:t> donde podremos ver que efectivamente disponemos de un campo fecha definido en el </a:t>
            </a:r>
            <a:r>
              <a:rPr lang="es-ES_tradnl" sz="1200" dirty="0" err="1"/>
              <a:t>config</a:t>
            </a:r>
            <a:r>
              <a:rPr lang="es-ES_tradnl" sz="1200" dirty="0"/>
              <a:t> más el campo </a:t>
            </a:r>
            <a:r>
              <a:rPr lang="es-ES_tradnl" sz="1200" dirty="0" err="1"/>
              <a:t>geo_point</a:t>
            </a:r>
            <a:r>
              <a:rPr lang="es-ES_tradnl" sz="1200" dirty="0"/>
              <a:t> definido en el </a:t>
            </a:r>
            <a:r>
              <a:rPr lang="es-ES_tradnl" sz="1200" dirty="0" err="1"/>
              <a:t>mappings</a:t>
            </a:r>
            <a:r>
              <a:rPr lang="es-ES_tradnl" sz="1200" dirty="0"/>
              <a:t> para su posterior representación </a:t>
            </a:r>
            <a:endParaRPr lang="es-ES" sz="1200" dirty="0"/>
          </a:p>
        </p:txBody>
      </p:sp>
      <p:pic>
        <p:nvPicPr>
          <p:cNvPr id="23" name="22 Imagen" descr="Macintosh HD:Users:walterroncerosnavajo:Desktop:Captura de pantalla 2020-07-19 a las 13.09.26.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5896" y="5172943"/>
            <a:ext cx="2418392" cy="1136017"/>
          </a:xfrm>
          <a:prstGeom prst="rect">
            <a:avLst/>
          </a:prstGeom>
          <a:noFill/>
          <a:ln>
            <a:noFill/>
          </a:ln>
        </p:spPr>
      </p:pic>
      <p:sp>
        <p:nvSpPr>
          <p:cNvPr id="24" name="23 Flecha derecha"/>
          <p:cNvSpPr/>
          <p:nvPr/>
        </p:nvSpPr>
        <p:spPr>
          <a:xfrm flipV="1">
            <a:off x="3792141" y="5695233"/>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24 Imagen" descr="Macintosh HD:Users:walterroncerosnavajo:Desktop:Mediciones por estación.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4476" y="2564904"/>
            <a:ext cx="2991980" cy="2235636"/>
          </a:xfrm>
          <a:prstGeom prst="rect">
            <a:avLst/>
          </a:prstGeom>
          <a:noFill/>
          <a:ln>
            <a:noFill/>
          </a:ln>
        </p:spPr>
      </p:pic>
      <p:pic>
        <p:nvPicPr>
          <p:cNvPr id="26" name="25 Imagen" descr="Macintosh HD:Users:walterroncerosnavajo:Desktop:ICA PARCIAL Ozono.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6098" y="4873755"/>
            <a:ext cx="1584637" cy="1519232"/>
          </a:xfrm>
          <a:prstGeom prst="rect">
            <a:avLst/>
          </a:prstGeom>
          <a:noFill/>
          <a:ln>
            <a:noFill/>
          </a:ln>
        </p:spPr>
      </p:pic>
      <p:pic>
        <p:nvPicPr>
          <p:cNvPr id="27" name="26 Imagen" descr="Macintosh HD:Users:walterroncerosnavajo:Desktop:ICA PARCIAL Partículas.pn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89451" y="4849466"/>
            <a:ext cx="1418415" cy="1465174"/>
          </a:xfrm>
          <a:prstGeom prst="rect">
            <a:avLst/>
          </a:prstGeom>
          <a:noFill/>
          <a:ln>
            <a:noFill/>
          </a:ln>
        </p:spPr>
      </p:pic>
      <p:cxnSp>
        <p:nvCxnSpPr>
          <p:cNvPr id="28" name="Conector recto 27"/>
          <p:cNvCxnSpPr/>
          <p:nvPr/>
        </p:nvCxnSpPr>
        <p:spPr>
          <a:xfrm>
            <a:off x="1547664" y="584622"/>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593</TotalTime>
  <Words>1183</Words>
  <Application>Microsoft Office PowerPoint</Application>
  <PresentationFormat>Presentación en pantalla (4:3)</PresentationFormat>
  <Paragraphs>100</Paragraphs>
  <Slides>12</Slides>
  <Notes>10</Notes>
  <HiddenSlides>0</HiddenSlides>
  <MMClips>0</MMClips>
  <ScaleCrop>false</ScaleCrop>
  <HeadingPairs>
    <vt:vector size="8" baseType="variant">
      <vt:variant>
        <vt:lpstr>Fuentes usadas</vt:lpstr>
      </vt:variant>
      <vt:variant>
        <vt:i4>11</vt:i4>
      </vt:variant>
      <vt:variant>
        <vt:lpstr>Tema</vt:lpstr>
      </vt:variant>
      <vt:variant>
        <vt:i4>2</vt:i4>
      </vt:variant>
      <vt:variant>
        <vt:lpstr>Servidores OLE incrustados</vt:lpstr>
      </vt:variant>
      <vt:variant>
        <vt:i4>1</vt:i4>
      </vt:variant>
      <vt:variant>
        <vt:lpstr>Títulos de diapositiva</vt:lpstr>
      </vt:variant>
      <vt:variant>
        <vt:i4>12</vt:i4>
      </vt:variant>
    </vt:vector>
  </HeadingPairs>
  <TitlesOfParts>
    <vt:vector size="26" baseType="lpstr">
      <vt:lpstr>Arial</vt:lpstr>
      <vt:lpstr>Arial Narrow</vt:lpstr>
      <vt:lpstr>Calibri</vt:lpstr>
      <vt:lpstr>Calibri Light</vt:lpstr>
      <vt:lpstr>Century Gothic</vt:lpstr>
      <vt:lpstr>Constantia</vt:lpstr>
      <vt:lpstr>Georgia</vt:lpstr>
      <vt:lpstr>メイリオ</vt:lpstr>
      <vt:lpstr>Times New Roman</vt:lpstr>
      <vt:lpstr>Wingdings</vt:lpstr>
      <vt:lpstr>Wingdings 2</vt:lpstr>
      <vt:lpstr>Flujo</vt:lpstr>
      <vt:lpstr>Diseño personalizado</vt:lpstr>
      <vt:lpstr>Diapositiva de think-cell</vt:lpstr>
      <vt:lpstr>Presentación de PowerPoint</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Visualización:</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REINA GARCIA, CARMEN</cp:lastModifiedBy>
  <cp:revision>46</cp:revision>
  <dcterms:created xsi:type="dcterms:W3CDTF">2020-07-19T14:33:05Z</dcterms:created>
  <dcterms:modified xsi:type="dcterms:W3CDTF">2020-07-21T13: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